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Default Extension="bin" ContentType="application/vnd.openxmlformats-officedocument.oleObject"/>
  <Default Extension="png" ContentType="image/png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7"/>
  </p:notesMasterIdLst>
  <p:sldIdLst>
    <p:sldId id="260" r:id="rId6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9407"/>
    <a:srgbClr val="EFA207"/>
    <a:srgbClr val="CA6614"/>
    <a:srgbClr val="20B573"/>
    <a:srgbClr val="00BBC1"/>
    <a:srgbClr val="EFA05F"/>
    <a:srgbClr val="27D988"/>
    <a:srgbClr val="177B57"/>
    <a:srgbClr val="C5E4BA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napToObjects="1" showGuides="1">
      <p:cViewPr>
        <p:scale>
          <a:sx n="150" d="100"/>
          <a:sy n="150" d="100"/>
        </p:scale>
        <p:origin x="3594" y="180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6" name="think-cell Slide" r:id="rId3" imgW="360" imgH="360" progId="TCLayout.ActiveDocument.1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0" name="think-cell Slide" r:id="rId11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kourim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77200" y="6642000"/>
            <a:ext cx="1969200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rPr>
              <a:t>Draft—for discussion only</a:t>
            </a:r>
            <a:endParaRPr lang="en-US" sz="1200" b="1" noProof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218" name="think-cell Slide" r:id="rId3" imgW="270" imgH="270" progId="TCLayout.ActiveDocument.1">
              <p:embed/>
            </p:oleObj>
          </a:graphicData>
        </a:graphic>
      </p:graphicFrame>
      <p:sp>
        <p:nvSpPr>
          <p:cNvPr id="4" name="Rectangle 3"/>
          <p:cNvSpPr/>
          <p:nvPr/>
        </p:nvSpPr>
        <p:spPr>
          <a:xfrm>
            <a:off x="5270500" y="1943100"/>
            <a:ext cx="4267200" cy="4267200"/>
          </a:xfrm>
          <a:prstGeom prst="rect">
            <a:avLst/>
          </a:prstGeom>
          <a:gradFill flip="none" rotWithShape="1">
            <a:gsLst>
              <a:gs pos="0">
                <a:srgbClr val="EFA05F">
                  <a:tint val="66000"/>
                  <a:satMod val="160000"/>
                </a:srgbClr>
              </a:gs>
              <a:gs pos="50000">
                <a:srgbClr val="EFA05F">
                  <a:tint val="44500"/>
                  <a:satMod val="160000"/>
                </a:srgbClr>
              </a:gs>
              <a:gs pos="100000">
                <a:srgbClr val="EFA05F">
                  <a:tint val="23500"/>
                  <a:satMod val="160000"/>
                </a:srgbClr>
              </a:gs>
            </a:gsLst>
            <a:lin ang="135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5372100" y="3271520"/>
            <a:ext cx="2209800" cy="2209800"/>
          </a:xfrm>
          <a:prstGeom prst="ellipse">
            <a:avLst/>
          </a:prstGeom>
          <a:gradFill flip="none" rotWithShape="1">
            <a:gsLst>
              <a:gs pos="0">
                <a:srgbClr val="EFA207">
                  <a:tint val="66000"/>
                  <a:satMod val="160000"/>
                </a:srgbClr>
              </a:gs>
              <a:gs pos="50000">
                <a:srgbClr val="EFA207">
                  <a:tint val="44500"/>
                  <a:satMod val="160000"/>
                </a:srgbClr>
              </a:gs>
              <a:gs pos="100000">
                <a:srgbClr val="EFA207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70500" y="4445000"/>
            <a:ext cx="4267200" cy="1765300"/>
          </a:xfrm>
          <a:prstGeom prst="rect">
            <a:avLst/>
          </a:prstGeom>
          <a:gradFill flip="none" rotWithShape="1">
            <a:gsLst>
              <a:gs pos="0">
                <a:srgbClr val="20B573"/>
              </a:gs>
              <a:gs pos="50000">
                <a:srgbClr val="20B573"/>
              </a:gs>
              <a:gs pos="100000">
                <a:srgbClr val="27D988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372100" y="4445000"/>
            <a:ext cx="2209800" cy="1036320"/>
          </a:xfrm>
          <a:prstGeom prst="ellipse">
            <a:avLst/>
          </a:pr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867400" y="4445000"/>
            <a:ext cx="2209800" cy="1036320"/>
          </a:xfrm>
          <a:prstGeom prst="ellipse">
            <a:avLst/>
          </a:pr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5373054" y="4975860"/>
            <a:ext cx="1272540" cy="1386840"/>
          </a:xfrm>
          <a:custGeom>
            <a:avLst/>
            <a:gdLst>
              <a:gd name="connsiteX0" fmla="*/ 0 w 1272540"/>
              <a:gd name="connsiteY0" fmla="*/ 0 h 1386840"/>
              <a:gd name="connsiteX1" fmla="*/ 144780 w 1272540"/>
              <a:gd name="connsiteY1" fmla="*/ 1363980 h 1386840"/>
              <a:gd name="connsiteX2" fmla="*/ 1272540 w 1272540"/>
              <a:gd name="connsiteY2" fmla="*/ 1386840 h 1386840"/>
              <a:gd name="connsiteX3" fmla="*/ 472440 w 1272540"/>
              <a:gd name="connsiteY3" fmla="*/ 30480 h 1386840"/>
              <a:gd name="connsiteX4" fmla="*/ 0 w 1272540"/>
              <a:gd name="connsiteY4" fmla="*/ 0 h 138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540" h="1386840">
                <a:moveTo>
                  <a:pt x="0" y="0"/>
                </a:moveTo>
                <a:lnTo>
                  <a:pt x="144780" y="1363980"/>
                </a:lnTo>
                <a:lnTo>
                  <a:pt x="1272540" y="1386840"/>
                </a:lnTo>
                <a:lnTo>
                  <a:pt x="472440" y="30480"/>
                </a:lnTo>
                <a:lnTo>
                  <a:pt x="0" y="0"/>
                </a:lnTo>
                <a:close/>
              </a:path>
            </a:pathLst>
          </a:cu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893594" y="4912519"/>
            <a:ext cx="1452562" cy="1433512"/>
          </a:xfrm>
          <a:custGeom>
            <a:avLst/>
            <a:gdLst>
              <a:gd name="connsiteX0" fmla="*/ 735806 w 1452562"/>
              <a:gd name="connsiteY0" fmla="*/ 1433512 h 1433512"/>
              <a:gd name="connsiteX1" fmla="*/ 0 w 1452562"/>
              <a:gd name="connsiteY1" fmla="*/ 161925 h 1433512"/>
              <a:gd name="connsiteX2" fmla="*/ 314325 w 1452562"/>
              <a:gd name="connsiteY2" fmla="*/ 0 h 1433512"/>
              <a:gd name="connsiteX3" fmla="*/ 1231106 w 1452562"/>
              <a:gd name="connsiteY3" fmla="*/ 145256 h 1433512"/>
              <a:gd name="connsiteX4" fmla="*/ 1452562 w 1452562"/>
              <a:gd name="connsiteY4" fmla="*/ 942975 h 1433512"/>
              <a:gd name="connsiteX5" fmla="*/ 735806 w 1452562"/>
              <a:gd name="connsiteY5" fmla="*/ 1433512 h 143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2562" h="1433512">
                <a:moveTo>
                  <a:pt x="735806" y="1433512"/>
                </a:moveTo>
                <a:lnTo>
                  <a:pt x="0" y="161925"/>
                </a:lnTo>
                <a:lnTo>
                  <a:pt x="314325" y="0"/>
                </a:lnTo>
                <a:lnTo>
                  <a:pt x="1231106" y="145256"/>
                </a:lnTo>
                <a:lnTo>
                  <a:pt x="1452562" y="942975"/>
                </a:lnTo>
                <a:lnTo>
                  <a:pt x="735806" y="1433512"/>
                </a:lnTo>
                <a:close/>
              </a:path>
            </a:pathLst>
          </a:cu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200695" y="3271520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rapezoid 26"/>
          <p:cNvSpPr/>
          <p:nvPr/>
        </p:nvSpPr>
        <p:spPr>
          <a:xfrm rot="9600000">
            <a:off x="7381545" y="4932046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rapezoid 28"/>
          <p:cNvSpPr/>
          <p:nvPr/>
        </p:nvSpPr>
        <p:spPr>
          <a:xfrm rot="-9600000">
            <a:off x="9127795" y="4932048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>
            <a:off x="7486320" y="3436620"/>
            <a:ext cx="1593850" cy="1768475"/>
          </a:xfrm>
          <a:prstGeom prst="triangl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40377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99762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7406945" y="3325495"/>
            <a:ext cx="1746250" cy="1765300"/>
          </a:xfrm>
          <a:custGeom>
            <a:avLst/>
            <a:gdLst>
              <a:gd name="connsiteX0" fmla="*/ 796925 w 1746250"/>
              <a:gd name="connsiteY0" fmla="*/ 0 h 1765300"/>
              <a:gd name="connsiteX1" fmla="*/ 952500 w 1746250"/>
              <a:gd name="connsiteY1" fmla="*/ 0 h 1765300"/>
              <a:gd name="connsiteX2" fmla="*/ 1746250 w 1746250"/>
              <a:gd name="connsiteY2" fmla="*/ 1765300 h 1765300"/>
              <a:gd name="connsiteX3" fmla="*/ 0 w 1746250"/>
              <a:gd name="connsiteY3" fmla="*/ 1765300 h 1765300"/>
              <a:gd name="connsiteX4" fmla="*/ 796925 w 1746250"/>
              <a:gd name="connsiteY4" fmla="*/ 0 h 176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250" h="1765300">
                <a:moveTo>
                  <a:pt x="796925" y="0"/>
                </a:moveTo>
                <a:lnTo>
                  <a:pt x="952500" y="0"/>
                </a:lnTo>
                <a:lnTo>
                  <a:pt x="1746250" y="1765300"/>
                </a:lnTo>
                <a:lnTo>
                  <a:pt x="0" y="1765300"/>
                </a:lnTo>
                <a:lnTo>
                  <a:pt x="796925" y="0"/>
                </a:lnTo>
                <a:close/>
              </a:path>
            </a:pathLst>
          </a:cu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ight Triangle 29"/>
          <p:cNvSpPr/>
          <p:nvPr/>
        </p:nvSpPr>
        <p:spPr>
          <a:xfrm flipH="1">
            <a:off x="7924935" y="3995420"/>
            <a:ext cx="358310" cy="1209675"/>
          </a:xfrm>
          <a:prstGeom prst="rtTriangle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283245" y="3852545"/>
            <a:ext cx="222250" cy="1352550"/>
          </a:xfrm>
          <a:prstGeom prst="rect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ight Triangle 33"/>
          <p:cNvSpPr/>
          <p:nvPr/>
        </p:nvSpPr>
        <p:spPr>
          <a:xfrm rot="960000" flipH="1">
            <a:off x="7756664" y="3931114"/>
            <a:ext cx="358310" cy="1251213"/>
          </a:xfrm>
          <a:prstGeom prst="rtTriangle">
            <a:avLst/>
          </a:prstGeom>
          <a:solidFill>
            <a:srgbClr val="DB94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Callout 19"/>
          <p:cNvSpPr/>
          <p:nvPr/>
        </p:nvSpPr>
        <p:spPr>
          <a:xfrm flipH="1">
            <a:off x="6624148" y="2191303"/>
            <a:ext cx="1559244" cy="1080217"/>
          </a:xfrm>
          <a:prstGeom prst="wedgeEllipseCallou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4" descr="http://www.clker.com/cliparts/2/e/8/8/1194986685743465171musical_note_2_dennis_bo_01.svg.hi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71498" y="2420146"/>
            <a:ext cx="464544" cy="62253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A4 Paper (210x297 mm)</PresentationFormat>
  <Paragraphs>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Slide 0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uba Jakub</dc:creator>
  <cp:lastModifiedBy>Kuba Jakub</cp:lastModifiedBy>
  <cp:revision>41</cp:revision>
  <dcterms:created xsi:type="dcterms:W3CDTF">2015-04-08T08:42:09Z</dcterms:created>
  <dcterms:modified xsi:type="dcterms:W3CDTF">2015-04-15T08:0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